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1"/>
  </p:notesMasterIdLst>
  <p:sldIdLst>
    <p:sldId id="294" r:id="rId2"/>
    <p:sldId id="292" r:id="rId3"/>
    <p:sldId id="300" r:id="rId4"/>
    <p:sldId id="257" r:id="rId5"/>
    <p:sldId id="301" r:id="rId6"/>
    <p:sldId id="302" r:id="rId7"/>
    <p:sldId id="303" r:id="rId8"/>
    <p:sldId id="299" r:id="rId9"/>
    <p:sldId id="297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38" autoAdjust="0"/>
    <p:restoredTop sz="96713" autoAdjust="0"/>
  </p:normalViewPr>
  <p:slideViewPr>
    <p:cSldViewPr snapToGrid="0">
      <p:cViewPr varScale="1">
        <p:scale>
          <a:sx n="75" d="100"/>
          <a:sy n="75" d="100"/>
        </p:scale>
        <p:origin x="72" y="4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29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3: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br>
              <a:rPr lang="de-DE" dirty="0"/>
            </a:br>
            <a:r>
              <a:rPr lang="de-DE" dirty="0"/>
              <a:t>Xheni Hoxha  7267017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B06663-BCBE-40DB-9222-0039D464CF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36650"/>
            <a:ext cx="5414394" cy="24447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41E27C5-CC8C-4DB4-81B2-034185D7FC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9544" y="1041974"/>
            <a:ext cx="4106411" cy="307980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62B480C-6EC9-4C93-8EF4-D46A8DB7FB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088" y="3727450"/>
            <a:ext cx="4106412" cy="307980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4CB9B4-9B18-40A5-BA53-E07A3E44E2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0" y="3873558"/>
            <a:ext cx="3911600" cy="29337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0FF7E35-C990-4A9B-9E4B-D6BC5784543C}"/>
              </a:ext>
            </a:extLst>
          </p:cNvPr>
          <p:cNvSpPr txBox="1"/>
          <p:nvPr/>
        </p:nvSpPr>
        <p:spPr>
          <a:xfrm>
            <a:off x="5588002" y="3873558"/>
            <a:ext cx="25673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on enteir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A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CA1CC82-287A-4810-91EF-0E28D1E92D67}"/>
              </a:ext>
            </a:extLst>
          </p:cNvPr>
          <p:cNvSpPr txBox="1"/>
          <p:nvPr/>
        </p:nvSpPr>
        <p:spPr>
          <a:xfrm>
            <a:off x="1228950" y="3733858"/>
            <a:ext cx="2158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</a:t>
            </a:r>
            <a:r>
              <a:rPr lang="de-DE" dirty="0" err="1"/>
              <a:t>vari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610F37D-D62E-40D2-A4A2-F9C0B3E11A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7697" y="4058224"/>
            <a:ext cx="3604956" cy="2703718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9BC6D21-496A-467D-882F-9EB1D32DBA08}"/>
              </a:ext>
            </a:extLst>
          </p:cNvPr>
          <p:cNvSpPr txBox="1"/>
          <p:nvPr/>
        </p:nvSpPr>
        <p:spPr>
          <a:xfrm>
            <a:off x="8859430" y="3735058"/>
            <a:ext cx="31642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Dropt</a:t>
            </a:r>
            <a:r>
              <a:rPr lang="de-DE" dirty="0"/>
              <a:t> </a:t>
            </a:r>
            <a:r>
              <a:rPr lang="de-DE" dirty="0" err="1"/>
              <a:t>ouut</a:t>
            </a:r>
            <a:r>
              <a:rPr lang="de-DE" dirty="0"/>
              <a:t>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</a:p>
          <a:p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50 % Data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24697C7-2D04-4BA2-8595-6F4F6EA311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1219486"/>
            <a:ext cx="4056296" cy="304222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621F91-B996-4CF6-9055-D0ABCA3B8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1775" y="1296028"/>
            <a:ext cx="3263822" cy="29654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2F2E77C5-8507-4484-AC8E-925A2667FA42}"/>
              </a:ext>
            </a:extLst>
          </p:cNvPr>
          <p:cNvSpPr txBox="1"/>
          <p:nvPr/>
        </p:nvSpPr>
        <p:spPr>
          <a:xfrm>
            <a:off x="1231902" y="1123434"/>
            <a:ext cx="14951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SNE on Set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F47B49B-90B9-4C06-B2AC-FA3C61B27702}"/>
              </a:ext>
            </a:extLst>
          </p:cNvPr>
          <p:cNvSpPr txBox="1"/>
          <p:nvPr/>
        </p:nvSpPr>
        <p:spPr>
          <a:xfrm>
            <a:off x="5420130" y="1129268"/>
            <a:ext cx="1387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DA on Set 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57B4494-A983-43D5-A87B-125FCC6AD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115" y="4446144"/>
            <a:ext cx="2980266" cy="22352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FDAE43-135B-4FBD-895C-94D14B078621}"/>
              </a:ext>
            </a:extLst>
          </p:cNvPr>
          <p:cNvSpPr txBox="1"/>
          <p:nvPr/>
        </p:nvSpPr>
        <p:spPr>
          <a:xfrm>
            <a:off x="1231902" y="4261478"/>
            <a:ext cx="268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mal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18B4950-9AAE-4876-B290-353F20FFA027}"/>
              </a:ext>
            </a:extLst>
          </p:cNvPr>
          <p:cNvSpPr txBox="1"/>
          <p:nvPr/>
        </p:nvSpPr>
        <p:spPr>
          <a:xfrm>
            <a:off x="7926487" y="1111362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35-9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955BB51-BBAA-4AE8-A03A-38054737FB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017" y="4485500"/>
            <a:ext cx="2927792" cy="2195844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D84757-2B76-439C-A8BD-9D1CD96202A9}"/>
              </a:ext>
            </a:extLst>
          </p:cNvPr>
          <p:cNvSpPr txBox="1"/>
          <p:nvPr/>
        </p:nvSpPr>
        <p:spPr>
          <a:xfrm>
            <a:off x="4321914" y="4261478"/>
            <a:ext cx="2866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female</a:t>
            </a:r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7297819-AEE2-4DD0-A16F-21DD177576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2103" y="4467005"/>
            <a:ext cx="2977112" cy="223283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57C7848-B217-479E-AEB5-C5AF22E70A30}"/>
              </a:ext>
            </a:extLst>
          </p:cNvPr>
          <p:cNvSpPr txBox="1"/>
          <p:nvPr/>
        </p:nvSpPr>
        <p:spPr>
          <a:xfrm>
            <a:off x="7571699" y="4261478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10-35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A2D838CC-FB4E-44E9-8EB5-8407950B3E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7334" y="1454243"/>
            <a:ext cx="3605962" cy="270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01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lphaLcParenR"/>
            </a:pPr>
            <a:r>
              <a:rPr lang="en-US" sz="1800" dirty="0">
                <a:latin typeface="+mn-lt"/>
              </a:rPr>
              <a:t>Some clusters are remarkable. For example cluster #4 is rather dense while also having the highest sepsis chance. This is followed by Cluster #10 which is, according to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, also located close to #4.</a:t>
            </a:r>
            <a:endParaRPr lang="de-DE" sz="1800" dirty="0">
              <a:latin typeface="+mn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28D1B76-C885-4C6A-8E9D-76974531DE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1490395"/>
            <a:ext cx="6096000" cy="4572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lphaLcParenR"/>
            </a:pPr>
            <a:r>
              <a:rPr lang="en-US" sz="1800" dirty="0">
                <a:latin typeface="+mn-lt"/>
              </a:rPr>
              <a:t>Some clusters are remarkable. For example cluster #4 is rather dense while also having the highest sepsis chance. This is followed by Cluster #10 which is, according to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, also located close to #4.</a:t>
            </a:r>
          </a:p>
          <a:p>
            <a:pPr marL="514350" indent="-514350">
              <a:buFont typeface="+mj-lt"/>
              <a:buAutoNum type="alphaLcParenR"/>
            </a:pPr>
            <a:endParaRPr lang="en-US" sz="1800" dirty="0">
              <a:latin typeface="+mn-lt"/>
            </a:endParaRPr>
          </a:p>
          <a:p>
            <a:pPr marL="514350" indent="-514350">
              <a:buFont typeface="+mj-lt"/>
              <a:buAutoNum type="alphaLcParenR"/>
            </a:pPr>
            <a:r>
              <a:rPr lang="en-US" sz="1800" dirty="0">
                <a:latin typeface="+mn-lt"/>
              </a:rPr>
              <a:t>We've implemented the Silhouette Score which judges the whole clustering by comparing the distance of a data point and its assigned cluster center towards its distance to the other clusters. Therefore a low silhouette score speaks of a good cluster assignment.</a:t>
            </a:r>
            <a:endParaRPr lang="de-DE" sz="1800" dirty="0">
              <a:latin typeface="+mn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28D1B76-C885-4C6A-8E9D-76974531DE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1490395"/>
            <a:ext cx="6096000" cy="45720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79479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lphaLcParenR" startAt="3"/>
            </a:pPr>
            <a:r>
              <a:rPr lang="en-US" sz="1800" dirty="0">
                <a:latin typeface="+mn-lt"/>
              </a:rPr>
              <a:t>Yes, the clustering is vastly different as it does not consider the original data point constellation anymore but the one given with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instead. The clusters are more uniformly sized in the resulting graph and the spikes in the total sepsis cases has disappeared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DCC28B-C3ED-48A4-A6DF-246473A5CD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452" y="1256715"/>
            <a:ext cx="6117348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98487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lphaLcParenR"/>
            </a:pPr>
            <a:r>
              <a:rPr lang="en-US" sz="1800" dirty="0">
                <a:latin typeface="+mn-lt"/>
              </a:rPr>
              <a:t>Yes, as the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already shows a radically different, more dense mapping it also shows in the clustering. A very noteworthy cluster here is cluster #3 which is tiny compared to the other clusters but still has a relatively high sepsis chance. The same goes for cluster #10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00AD1C0-B7FB-451D-AB09-E32393B097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098" y="1256715"/>
            <a:ext cx="5879604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84583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App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thods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Subspace</a:t>
            </a:r>
            <a:r>
              <a:rPr lang="de-DE" sz="2800" noProof="0" dirty="0">
                <a:latin typeface="+mn-lt"/>
              </a:rPr>
              <a:t> Clustering and Imputation</a:t>
            </a: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/>
              <a:t>y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8</Words>
  <Application>Microsoft Office PowerPoint</Application>
  <PresentationFormat>Breitbild</PresentationFormat>
  <Paragraphs>37</Paragraphs>
  <Slides>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3: Clustering and Imputation  Group 8</vt:lpstr>
      <vt:lpstr>Recap of Last Presentation</vt:lpstr>
      <vt:lpstr>Recap of Last Presentation</vt:lpstr>
      <vt:lpstr>Task 3.1</vt:lpstr>
      <vt:lpstr>Task 3.1</vt:lpstr>
      <vt:lpstr>Task 3.1</vt:lpstr>
      <vt:lpstr>Task 3.2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Tobias ETTLING</cp:lastModifiedBy>
  <cp:revision>89</cp:revision>
  <dcterms:created xsi:type="dcterms:W3CDTF">2021-06-28T09:55:05Z</dcterms:created>
  <dcterms:modified xsi:type="dcterms:W3CDTF">2021-11-29T13:03:10Z</dcterms:modified>
</cp:coreProperties>
</file>